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256" r:id="rId2"/>
    <p:sldId id="269" r:id="rId3"/>
    <p:sldId id="270" r:id="rId4"/>
    <p:sldId id="285" r:id="rId5"/>
    <p:sldId id="288" r:id="rId6"/>
    <p:sldId id="286" r:id="rId7"/>
    <p:sldId id="287" r:id="rId8"/>
    <p:sldId id="261" r:id="rId9"/>
  </p:sldIdLst>
  <p:sldSz cx="12192000" cy="6858000"/>
  <p:notesSz cx="6858000" cy="9144000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FFDA93"/>
    <a:srgbClr val="C9670D"/>
    <a:srgbClr val="FAB534"/>
    <a:srgbClr val="C7450B"/>
    <a:srgbClr val="A40000"/>
    <a:srgbClr val="9E0000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77" y="2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6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12" name="组合 9811">
            <a:extLst>
              <a:ext uri="{FF2B5EF4-FFF2-40B4-BE49-F238E27FC236}">
                <a16:creationId xmlns="" xmlns:a16="http://schemas.microsoft.com/office/drawing/2014/main" id="{C5865496-00B5-43D7-A11F-454F4D4CA389}"/>
              </a:ext>
            </a:extLst>
          </p:cNvPr>
          <p:cNvGrpSpPr/>
          <p:nvPr userDrawn="1"/>
        </p:nvGrpSpPr>
        <p:grpSpPr>
          <a:xfrm>
            <a:off x="6519402" y="578104"/>
            <a:ext cx="5574957" cy="5782229"/>
            <a:chOff x="6608420" y="1155742"/>
            <a:chExt cx="5380038" cy="5580063"/>
          </a:xfrm>
        </p:grpSpPr>
        <p:sp>
          <p:nvSpPr>
            <p:cNvPr id="9797" name="Freeform 138">
              <a:extLst>
                <a:ext uri="{FF2B5EF4-FFF2-40B4-BE49-F238E27FC236}">
                  <a16:creationId xmlns="" xmlns:a16="http://schemas.microsoft.com/office/drawing/2014/main" id="{B38B5138-C4C5-4DA0-87F3-1314579382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94258" y="2086017"/>
              <a:ext cx="4062413" cy="3854450"/>
            </a:xfrm>
            <a:custGeom>
              <a:avLst/>
              <a:gdLst>
                <a:gd name="T0" fmla="*/ 324 w 602"/>
                <a:gd name="T1" fmla="*/ 14 h 572"/>
                <a:gd name="T2" fmla="*/ 588 w 602"/>
                <a:gd name="T3" fmla="*/ 311 h 572"/>
                <a:gd name="T4" fmla="*/ 277 w 602"/>
                <a:gd name="T5" fmla="*/ 558 h 572"/>
                <a:gd name="T6" fmla="*/ 13 w 602"/>
                <a:gd name="T7" fmla="*/ 261 h 572"/>
                <a:gd name="T8" fmla="*/ 324 w 602"/>
                <a:gd name="T9" fmla="*/ 14 h 572"/>
                <a:gd name="T10" fmla="*/ 297 w 602"/>
                <a:gd name="T11" fmla="*/ 331 h 572"/>
                <a:gd name="T12" fmla="*/ 348 w 602"/>
                <a:gd name="T13" fmla="*/ 290 h 572"/>
                <a:gd name="T14" fmla="*/ 305 w 602"/>
                <a:gd name="T15" fmla="*/ 241 h 572"/>
                <a:gd name="T16" fmla="*/ 253 w 602"/>
                <a:gd name="T17" fmla="*/ 282 h 572"/>
                <a:gd name="T18" fmla="*/ 297 w 602"/>
                <a:gd name="T19" fmla="*/ 331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2" h="572">
                  <a:moveTo>
                    <a:pt x="324" y="14"/>
                  </a:moveTo>
                  <a:cubicBezTo>
                    <a:pt x="483" y="28"/>
                    <a:pt x="602" y="161"/>
                    <a:pt x="588" y="311"/>
                  </a:cubicBezTo>
                  <a:cubicBezTo>
                    <a:pt x="575" y="461"/>
                    <a:pt x="436" y="572"/>
                    <a:pt x="277" y="558"/>
                  </a:cubicBezTo>
                  <a:cubicBezTo>
                    <a:pt x="118" y="544"/>
                    <a:pt x="0" y="411"/>
                    <a:pt x="13" y="261"/>
                  </a:cubicBezTo>
                  <a:cubicBezTo>
                    <a:pt x="26" y="110"/>
                    <a:pt x="165" y="0"/>
                    <a:pt x="324" y="14"/>
                  </a:cubicBezTo>
                  <a:close/>
                  <a:moveTo>
                    <a:pt x="297" y="331"/>
                  </a:moveTo>
                  <a:cubicBezTo>
                    <a:pt x="323" y="333"/>
                    <a:pt x="346" y="315"/>
                    <a:pt x="348" y="290"/>
                  </a:cubicBezTo>
                  <a:cubicBezTo>
                    <a:pt x="350" y="265"/>
                    <a:pt x="331" y="243"/>
                    <a:pt x="305" y="241"/>
                  </a:cubicBezTo>
                  <a:cubicBezTo>
                    <a:pt x="278" y="239"/>
                    <a:pt x="255" y="257"/>
                    <a:pt x="253" y="282"/>
                  </a:cubicBezTo>
                  <a:cubicBezTo>
                    <a:pt x="251" y="307"/>
                    <a:pt x="270" y="329"/>
                    <a:pt x="297" y="331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139">
              <a:extLst>
                <a:ext uri="{FF2B5EF4-FFF2-40B4-BE49-F238E27FC236}">
                  <a16:creationId xmlns="" xmlns:a16="http://schemas.microsoft.com/office/drawing/2014/main" id="{4E457115-AFE8-4128-A398-4591CA4DD3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3433" y="1782805"/>
              <a:ext cx="4630738" cy="3302000"/>
            </a:xfrm>
            <a:custGeom>
              <a:avLst/>
              <a:gdLst>
                <a:gd name="T0" fmla="*/ 267 w 686"/>
                <a:gd name="T1" fmla="*/ 357 h 490"/>
                <a:gd name="T2" fmla="*/ 27 w 686"/>
                <a:gd name="T3" fmla="*/ 445 h 490"/>
                <a:gd name="T4" fmla="*/ 5 w 686"/>
                <a:gd name="T5" fmla="*/ 302 h 490"/>
                <a:gd name="T6" fmla="*/ 365 w 686"/>
                <a:gd name="T7" fmla="*/ 16 h 490"/>
                <a:gd name="T8" fmla="*/ 670 w 686"/>
                <a:gd name="T9" fmla="*/ 360 h 490"/>
                <a:gd name="T10" fmla="*/ 628 w 686"/>
                <a:gd name="T11" fmla="*/ 490 h 490"/>
                <a:gd name="T12" fmla="*/ 403 w 686"/>
                <a:gd name="T13" fmla="*/ 367 h 490"/>
                <a:gd name="T14" fmla="*/ 413 w 686"/>
                <a:gd name="T15" fmla="*/ 337 h 490"/>
                <a:gd name="T16" fmla="*/ 344 w 686"/>
                <a:gd name="T17" fmla="*/ 260 h 490"/>
                <a:gd name="T18" fmla="*/ 262 w 686"/>
                <a:gd name="T19" fmla="*/ 324 h 490"/>
                <a:gd name="T20" fmla="*/ 267 w 686"/>
                <a:gd name="T21" fmla="*/ 3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490">
                  <a:moveTo>
                    <a:pt x="267" y="357"/>
                  </a:moveTo>
                  <a:cubicBezTo>
                    <a:pt x="27" y="445"/>
                    <a:pt x="27" y="445"/>
                    <a:pt x="27" y="445"/>
                  </a:cubicBezTo>
                  <a:cubicBezTo>
                    <a:pt x="8" y="399"/>
                    <a:pt x="0" y="350"/>
                    <a:pt x="5" y="302"/>
                  </a:cubicBezTo>
                  <a:cubicBezTo>
                    <a:pt x="20" y="128"/>
                    <a:pt x="181" y="0"/>
                    <a:pt x="365" y="16"/>
                  </a:cubicBezTo>
                  <a:cubicBezTo>
                    <a:pt x="549" y="32"/>
                    <a:pt x="686" y="186"/>
                    <a:pt x="670" y="360"/>
                  </a:cubicBezTo>
                  <a:cubicBezTo>
                    <a:pt x="666" y="406"/>
                    <a:pt x="652" y="450"/>
                    <a:pt x="628" y="490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409" y="358"/>
                    <a:pt x="412" y="348"/>
                    <a:pt x="413" y="337"/>
                  </a:cubicBezTo>
                  <a:cubicBezTo>
                    <a:pt x="416" y="298"/>
                    <a:pt x="385" y="263"/>
                    <a:pt x="344" y="260"/>
                  </a:cubicBezTo>
                  <a:cubicBezTo>
                    <a:pt x="302" y="256"/>
                    <a:pt x="266" y="285"/>
                    <a:pt x="262" y="324"/>
                  </a:cubicBezTo>
                  <a:cubicBezTo>
                    <a:pt x="261" y="336"/>
                    <a:pt x="263" y="347"/>
                    <a:pt x="267" y="3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140">
              <a:extLst>
                <a:ext uri="{FF2B5EF4-FFF2-40B4-BE49-F238E27FC236}">
                  <a16:creationId xmlns="" xmlns:a16="http://schemas.microsoft.com/office/drawing/2014/main" id="{51B770E4-B499-48EE-A34C-A2BFBA3D39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9583" y="1554205"/>
              <a:ext cx="4968875" cy="4892675"/>
            </a:xfrm>
            <a:custGeom>
              <a:avLst/>
              <a:gdLst>
                <a:gd name="T0" fmla="*/ 401 w 736"/>
                <a:gd name="T1" fmla="*/ 468 h 726"/>
                <a:gd name="T2" fmla="*/ 439 w 736"/>
                <a:gd name="T3" fmla="*/ 723 h 726"/>
                <a:gd name="T4" fmla="*/ 389 w 736"/>
                <a:gd name="T5" fmla="*/ 726 h 726"/>
                <a:gd name="T6" fmla="*/ 2 w 736"/>
                <a:gd name="T7" fmla="*/ 363 h 726"/>
                <a:gd name="T8" fmla="*/ 382 w 736"/>
                <a:gd name="T9" fmla="*/ 1 h 726"/>
                <a:gd name="T10" fmla="*/ 736 w 736"/>
                <a:gd name="T11" fmla="*/ 220 h 726"/>
                <a:gd name="T12" fmla="*/ 487 w 736"/>
                <a:gd name="T13" fmla="*/ 322 h 726"/>
                <a:gd name="T14" fmla="*/ 385 w 736"/>
                <a:gd name="T15" fmla="*/ 258 h 726"/>
                <a:gd name="T16" fmla="*/ 274 w 736"/>
                <a:gd name="T17" fmla="*/ 363 h 726"/>
                <a:gd name="T18" fmla="*/ 386 w 736"/>
                <a:gd name="T19" fmla="*/ 469 h 726"/>
                <a:gd name="T20" fmla="*/ 401 w 736"/>
                <a:gd name="T21" fmla="*/ 468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6" h="726">
                  <a:moveTo>
                    <a:pt x="401" y="468"/>
                  </a:moveTo>
                  <a:cubicBezTo>
                    <a:pt x="439" y="723"/>
                    <a:pt x="439" y="723"/>
                    <a:pt x="439" y="723"/>
                  </a:cubicBezTo>
                  <a:cubicBezTo>
                    <a:pt x="422" y="725"/>
                    <a:pt x="405" y="726"/>
                    <a:pt x="389" y="726"/>
                  </a:cubicBezTo>
                  <a:cubicBezTo>
                    <a:pt x="177" y="726"/>
                    <a:pt x="4" y="563"/>
                    <a:pt x="2" y="363"/>
                  </a:cubicBezTo>
                  <a:cubicBezTo>
                    <a:pt x="0" y="163"/>
                    <a:pt x="171" y="0"/>
                    <a:pt x="382" y="1"/>
                  </a:cubicBezTo>
                  <a:cubicBezTo>
                    <a:pt x="535" y="1"/>
                    <a:pt x="674" y="87"/>
                    <a:pt x="736" y="220"/>
                  </a:cubicBezTo>
                  <a:cubicBezTo>
                    <a:pt x="487" y="322"/>
                    <a:pt x="487" y="322"/>
                    <a:pt x="487" y="322"/>
                  </a:cubicBezTo>
                  <a:cubicBezTo>
                    <a:pt x="470" y="285"/>
                    <a:pt x="430" y="258"/>
                    <a:pt x="385" y="258"/>
                  </a:cubicBezTo>
                  <a:cubicBezTo>
                    <a:pt x="323" y="258"/>
                    <a:pt x="274" y="305"/>
                    <a:pt x="274" y="363"/>
                  </a:cubicBezTo>
                  <a:cubicBezTo>
                    <a:pt x="275" y="421"/>
                    <a:pt x="325" y="469"/>
                    <a:pt x="386" y="469"/>
                  </a:cubicBezTo>
                  <a:cubicBezTo>
                    <a:pt x="391" y="469"/>
                    <a:pt x="396" y="468"/>
                    <a:pt x="401" y="468"/>
                  </a:cubicBezTo>
                  <a:close/>
                </a:path>
              </a:pathLst>
            </a:custGeom>
            <a:blipFill dpi="0" rotWithShape="0">
              <a:blip r:embed="rId2"/>
              <a:srcRect/>
              <a:stretch>
                <a:fillRect l="-29057" t="-69" r="-28915" b="-69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141">
              <a:extLst>
                <a:ext uri="{FF2B5EF4-FFF2-40B4-BE49-F238E27FC236}">
                  <a16:creationId xmlns="" xmlns:a16="http://schemas.microsoft.com/office/drawing/2014/main" id="{CE771870-D929-4F15-998C-4114EF78D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8420" y="1155742"/>
              <a:ext cx="3252788" cy="5580063"/>
            </a:xfrm>
            <a:custGeom>
              <a:avLst/>
              <a:gdLst>
                <a:gd name="T0" fmla="*/ 434 w 482"/>
                <a:gd name="T1" fmla="*/ 564 h 828"/>
                <a:gd name="T2" fmla="*/ 411 w 482"/>
                <a:gd name="T3" fmla="*/ 828 h 828"/>
                <a:gd name="T4" fmla="*/ 20 w 482"/>
                <a:gd name="T5" fmla="*/ 387 h 828"/>
                <a:gd name="T6" fmla="*/ 482 w 482"/>
                <a:gd name="T7" fmla="*/ 20 h 828"/>
                <a:gd name="T8" fmla="*/ 459 w 482"/>
                <a:gd name="T9" fmla="*/ 284 h 828"/>
                <a:gd name="T10" fmla="*/ 299 w 482"/>
                <a:gd name="T11" fmla="*/ 411 h 828"/>
                <a:gd name="T12" fmla="*/ 434 w 482"/>
                <a:gd name="T13" fmla="*/ 564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828">
                  <a:moveTo>
                    <a:pt x="434" y="564"/>
                  </a:moveTo>
                  <a:cubicBezTo>
                    <a:pt x="411" y="828"/>
                    <a:pt x="411" y="828"/>
                    <a:pt x="411" y="828"/>
                  </a:cubicBezTo>
                  <a:cubicBezTo>
                    <a:pt x="176" y="807"/>
                    <a:pt x="0" y="610"/>
                    <a:pt x="20" y="387"/>
                  </a:cubicBezTo>
                  <a:cubicBezTo>
                    <a:pt x="39" y="164"/>
                    <a:pt x="246" y="0"/>
                    <a:pt x="482" y="20"/>
                  </a:cubicBezTo>
                  <a:cubicBezTo>
                    <a:pt x="459" y="284"/>
                    <a:pt x="459" y="284"/>
                    <a:pt x="459" y="284"/>
                  </a:cubicBezTo>
                  <a:cubicBezTo>
                    <a:pt x="377" y="277"/>
                    <a:pt x="306" y="334"/>
                    <a:pt x="299" y="411"/>
                  </a:cubicBezTo>
                  <a:cubicBezTo>
                    <a:pt x="292" y="488"/>
                    <a:pt x="353" y="556"/>
                    <a:pt x="434" y="564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 l="-83552" t="-12490" r="-158690" b="2118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261454" y="2829983"/>
            <a:ext cx="535706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261454" y="1572052"/>
            <a:ext cx="5357061" cy="125793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61454" y="4485113"/>
            <a:ext cx="2403095" cy="2962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61454" y="4948136"/>
            <a:ext cx="535706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9" name="任意多边形: 形状 58">
            <a:extLst>
              <a:ext uri="{FF2B5EF4-FFF2-40B4-BE49-F238E27FC236}">
                <a16:creationId xmlns="" xmlns:a16="http://schemas.microsoft.com/office/drawing/2014/main" id="{7DF4A34E-0818-4015-8B7A-A0B63CCB16F2}"/>
              </a:ext>
            </a:extLst>
          </p:cNvPr>
          <p:cNvSpPr/>
          <p:nvPr userDrawn="1"/>
        </p:nvSpPr>
        <p:spPr>
          <a:xfrm>
            <a:off x="-4165" y="1547326"/>
            <a:ext cx="847489" cy="3763348"/>
          </a:xfrm>
          <a:custGeom>
            <a:avLst/>
            <a:gdLst>
              <a:gd name="connsiteX0" fmla="*/ 0 w 847489"/>
              <a:gd name="connsiteY0" fmla="*/ 0 h 3763348"/>
              <a:gd name="connsiteX1" fmla="*/ 109174 w 847489"/>
              <a:gd name="connsiteY1" fmla="*/ 99224 h 3763348"/>
              <a:gd name="connsiteX2" fmla="*/ 847489 w 847489"/>
              <a:gd name="connsiteY2" fmla="*/ 1881674 h 3763348"/>
              <a:gd name="connsiteX3" fmla="*/ 109174 w 847489"/>
              <a:gd name="connsiteY3" fmla="*/ 3664124 h 3763348"/>
              <a:gd name="connsiteX4" fmla="*/ 0 w 847489"/>
              <a:gd name="connsiteY4" fmla="*/ 3763348 h 3763348"/>
              <a:gd name="connsiteX5" fmla="*/ 0 w 847489"/>
              <a:gd name="connsiteY5" fmla="*/ 3421337 h 3763348"/>
              <a:gd name="connsiteX6" fmla="*/ 83306 w 847489"/>
              <a:gd name="connsiteY6" fmla="*/ 3329677 h 3763348"/>
              <a:gd name="connsiteX7" fmla="*/ 603126 w 847489"/>
              <a:gd name="connsiteY7" fmla="*/ 1881674 h 3763348"/>
              <a:gd name="connsiteX8" fmla="*/ 83306 w 847489"/>
              <a:gd name="connsiteY8" fmla="*/ 433671 h 3763348"/>
              <a:gd name="connsiteX9" fmla="*/ 0 w 847489"/>
              <a:gd name="connsiteY9" fmla="*/ 342011 h 376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7489" h="3763348">
                <a:moveTo>
                  <a:pt x="0" y="0"/>
                </a:moveTo>
                <a:lnTo>
                  <a:pt x="109174" y="99224"/>
                </a:lnTo>
                <a:cubicBezTo>
                  <a:pt x="565343" y="555393"/>
                  <a:pt x="847489" y="1185584"/>
                  <a:pt x="847489" y="1881674"/>
                </a:cubicBezTo>
                <a:cubicBezTo>
                  <a:pt x="847489" y="2577764"/>
                  <a:pt x="565343" y="3207956"/>
                  <a:pt x="109174" y="3664124"/>
                </a:cubicBezTo>
                <a:lnTo>
                  <a:pt x="0" y="3763348"/>
                </a:lnTo>
                <a:lnTo>
                  <a:pt x="0" y="3421337"/>
                </a:lnTo>
                <a:lnTo>
                  <a:pt x="83306" y="3329677"/>
                </a:lnTo>
                <a:cubicBezTo>
                  <a:pt x="408049" y="2936181"/>
                  <a:pt x="603126" y="2431709"/>
                  <a:pt x="603126" y="1881674"/>
                </a:cubicBezTo>
                <a:cubicBezTo>
                  <a:pt x="603126" y="1331640"/>
                  <a:pt x="408049" y="827168"/>
                  <a:pt x="83306" y="433671"/>
                </a:cubicBezTo>
                <a:lnTo>
                  <a:pt x="0" y="3420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="" xmlns:a16="http://schemas.microsoft.com/office/drawing/2014/main" id="{36A7412E-6CD9-48A8-913F-20274BAB91DC}"/>
              </a:ext>
            </a:extLst>
          </p:cNvPr>
          <p:cNvGrpSpPr/>
          <p:nvPr userDrawn="1"/>
        </p:nvGrpSpPr>
        <p:grpSpPr>
          <a:xfrm>
            <a:off x="8892565" y="3543304"/>
            <a:ext cx="2973193" cy="3083733"/>
            <a:chOff x="6608420" y="1155742"/>
            <a:chExt cx="5380038" cy="5580063"/>
          </a:xfrm>
        </p:grpSpPr>
        <p:sp>
          <p:nvSpPr>
            <p:cNvPr id="13" name="Freeform 138">
              <a:extLst>
                <a:ext uri="{FF2B5EF4-FFF2-40B4-BE49-F238E27FC236}">
                  <a16:creationId xmlns="" xmlns:a16="http://schemas.microsoft.com/office/drawing/2014/main" id="{876DADCF-BB9B-4238-8328-7F843B66D1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94258" y="2086017"/>
              <a:ext cx="4062413" cy="3854450"/>
            </a:xfrm>
            <a:custGeom>
              <a:avLst/>
              <a:gdLst>
                <a:gd name="T0" fmla="*/ 324 w 602"/>
                <a:gd name="T1" fmla="*/ 14 h 572"/>
                <a:gd name="T2" fmla="*/ 588 w 602"/>
                <a:gd name="T3" fmla="*/ 311 h 572"/>
                <a:gd name="T4" fmla="*/ 277 w 602"/>
                <a:gd name="T5" fmla="*/ 558 h 572"/>
                <a:gd name="T6" fmla="*/ 13 w 602"/>
                <a:gd name="T7" fmla="*/ 261 h 572"/>
                <a:gd name="T8" fmla="*/ 324 w 602"/>
                <a:gd name="T9" fmla="*/ 14 h 572"/>
                <a:gd name="T10" fmla="*/ 297 w 602"/>
                <a:gd name="T11" fmla="*/ 331 h 572"/>
                <a:gd name="T12" fmla="*/ 348 w 602"/>
                <a:gd name="T13" fmla="*/ 290 h 572"/>
                <a:gd name="T14" fmla="*/ 305 w 602"/>
                <a:gd name="T15" fmla="*/ 241 h 572"/>
                <a:gd name="T16" fmla="*/ 253 w 602"/>
                <a:gd name="T17" fmla="*/ 282 h 572"/>
                <a:gd name="T18" fmla="*/ 297 w 602"/>
                <a:gd name="T19" fmla="*/ 331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2" h="572">
                  <a:moveTo>
                    <a:pt x="324" y="14"/>
                  </a:moveTo>
                  <a:cubicBezTo>
                    <a:pt x="483" y="28"/>
                    <a:pt x="602" y="161"/>
                    <a:pt x="588" y="311"/>
                  </a:cubicBezTo>
                  <a:cubicBezTo>
                    <a:pt x="575" y="461"/>
                    <a:pt x="436" y="572"/>
                    <a:pt x="277" y="558"/>
                  </a:cubicBezTo>
                  <a:cubicBezTo>
                    <a:pt x="118" y="544"/>
                    <a:pt x="0" y="411"/>
                    <a:pt x="13" y="261"/>
                  </a:cubicBezTo>
                  <a:cubicBezTo>
                    <a:pt x="26" y="110"/>
                    <a:pt x="165" y="0"/>
                    <a:pt x="324" y="14"/>
                  </a:cubicBezTo>
                  <a:close/>
                  <a:moveTo>
                    <a:pt x="297" y="331"/>
                  </a:moveTo>
                  <a:cubicBezTo>
                    <a:pt x="323" y="333"/>
                    <a:pt x="346" y="315"/>
                    <a:pt x="348" y="290"/>
                  </a:cubicBezTo>
                  <a:cubicBezTo>
                    <a:pt x="350" y="265"/>
                    <a:pt x="331" y="243"/>
                    <a:pt x="305" y="241"/>
                  </a:cubicBezTo>
                  <a:cubicBezTo>
                    <a:pt x="278" y="239"/>
                    <a:pt x="255" y="257"/>
                    <a:pt x="253" y="282"/>
                  </a:cubicBezTo>
                  <a:cubicBezTo>
                    <a:pt x="251" y="307"/>
                    <a:pt x="270" y="329"/>
                    <a:pt x="297" y="331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39">
              <a:extLst>
                <a:ext uri="{FF2B5EF4-FFF2-40B4-BE49-F238E27FC236}">
                  <a16:creationId xmlns="" xmlns:a16="http://schemas.microsoft.com/office/drawing/2014/main" id="{337A8404-1D43-43DC-840A-D0D690D826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3433" y="1782805"/>
              <a:ext cx="4630738" cy="3302000"/>
            </a:xfrm>
            <a:custGeom>
              <a:avLst/>
              <a:gdLst>
                <a:gd name="T0" fmla="*/ 267 w 686"/>
                <a:gd name="T1" fmla="*/ 357 h 490"/>
                <a:gd name="T2" fmla="*/ 27 w 686"/>
                <a:gd name="T3" fmla="*/ 445 h 490"/>
                <a:gd name="T4" fmla="*/ 5 w 686"/>
                <a:gd name="T5" fmla="*/ 302 h 490"/>
                <a:gd name="T6" fmla="*/ 365 w 686"/>
                <a:gd name="T7" fmla="*/ 16 h 490"/>
                <a:gd name="T8" fmla="*/ 670 w 686"/>
                <a:gd name="T9" fmla="*/ 360 h 490"/>
                <a:gd name="T10" fmla="*/ 628 w 686"/>
                <a:gd name="T11" fmla="*/ 490 h 490"/>
                <a:gd name="T12" fmla="*/ 403 w 686"/>
                <a:gd name="T13" fmla="*/ 367 h 490"/>
                <a:gd name="T14" fmla="*/ 413 w 686"/>
                <a:gd name="T15" fmla="*/ 337 h 490"/>
                <a:gd name="T16" fmla="*/ 344 w 686"/>
                <a:gd name="T17" fmla="*/ 260 h 490"/>
                <a:gd name="T18" fmla="*/ 262 w 686"/>
                <a:gd name="T19" fmla="*/ 324 h 490"/>
                <a:gd name="T20" fmla="*/ 267 w 686"/>
                <a:gd name="T21" fmla="*/ 3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490">
                  <a:moveTo>
                    <a:pt x="267" y="357"/>
                  </a:moveTo>
                  <a:cubicBezTo>
                    <a:pt x="27" y="445"/>
                    <a:pt x="27" y="445"/>
                    <a:pt x="27" y="445"/>
                  </a:cubicBezTo>
                  <a:cubicBezTo>
                    <a:pt x="8" y="399"/>
                    <a:pt x="0" y="350"/>
                    <a:pt x="5" y="302"/>
                  </a:cubicBezTo>
                  <a:cubicBezTo>
                    <a:pt x="20" y="128"/>
                    <a:pt x="181" y="0"/>
                    <a:pt x="365" y="16"/>
                  </a:cubicBezTo>
                  <a:cubicBezTo>
                    <a:pt x="549" y="32"/>
                    <a:pt x="686" y="186"/>
                    <a:pt x="670" y="360"/>
                  </a:cubicBezTo>
                  <a:cubicBezTo>
                    <a:pt x="666" y="406"/>
                    <a:pt x="652" y="450"/>
                    <a:pt x="628" y="490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409" y="358"/>
                    <a:pt x="412" y="348"/>
                    <a:pt x="413" y="337"/>
                  </a:cubicBezTo>
                  <a:cubicBezTo>
                    <a:pt x="416" y="298"/>
                    <a:pt x="385" y="263"/>
                    <a:pt x="344" y="260"/>
                  </a:cubicBezTo>
                  <a:cubicBezTo>
                    <a:pt x="302" y="256"/>
                    <a:pt x="266" y="285"/>
                    <a:pt x="262" y="324"/>
                  </a:cubicBezTo>
                  <a:cubicBezTo>
                    <a:pt x="261" y="336"/>
                    <a:pt x="263" y="347"/>
                    <a:pt x="267" y="3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140">
              <a:extLst>
                <a:ext uri="{FF2B5EF4-FFF2-40B4-BE49-F238E27FC236}">
                  <a16:creationId xmlns="" xmlns:a16="http://schemas.microsoft.com/office/drawing/2014/main" id="{B137DFE1-093E-410F-BEF1-9300BBF5DE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9583" y="1554205"/>
              <a:ext cx="4968875" cy="4892675"/>
            </a:xfrm>
            <a:custGeom>
              <a:avLst/>
              <a:gdLst>
                <a:gd name="T0" fmla="*/ 401 w 736"/>
                <a:gd name="T1" fmla="*/ 468 h 726"/>
                <a:gd name="T2" fmla="*/ 439 w 736"/>
                <a:gd name="T3" fmla="*/ 723 h 726"/>
                <a:gd name="T4" fmla="*/ 389 w 736"/>
                <a:gd name="T5" fmla="*/ 726 h 726"/>
                <a:gd name="T6" fmla="*/ 2 w 736"/>
                <a:gd name="T7" fmla="*/ 363 h 726"/>
                <a:gd name="T8" fmla="*/ 382 w 736"/>
                <a:gd name="T9" fmla="*/ 1 h 726"/>
                <a:gd name="T10" fmla="*/ 736 w 736"/>
                <a:gd name="T11" fmla="*/ 220 h 726"/>
                <a:gd name="T12" fmla="*/ 487 w 736"/>
                <a:gd name="T13" fmla="*/ 322 h 726"/>
                <a:gd name="T14" fmla="*/ 385 w 736"/>
                <a:gd name="T15" fmla="*/ 258 h 726"/>
                <a:gd name="T16" fmla="*/ 274 w 736"/>
                <a:gd name="T17" fmla="*/ 363 h 726"/>
                <a:gd name="T18" fmla="*/ 386 w 736"/>
                <a:gd name="T19" fmla="*/ 469 h 726"/>
                <a:gd name="T20" fmla="*/ 401 w 736"/>
                <a:gd name="T21" fmla="*/ 468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6" h="726">
                  <a:moveTo>
                    <a:pt x="401" y="468"/>
                  </a:moveTo>
                  <a:cubicBezTo>
                    <a:pt x="439" y="723"/>
                    <a:pt x="439" y="723"/>
                    <a:pt x="439" y="723"/>
                  </a:cubicBezTo>
                  <a:cubicBezTo>
                    <a:pt x="422" y="725"/>
                    <a:pt x="405" y="726"/>
                    <a:pt x="389" y="726"/>
                  </a:cubicBezTo>
                  <a:cubicBezTo>
                    <a:pt x="177" y="726"/>
                    <a:pt x="4" y="563"/>
                    <a:pt x="2" y="363"/>
                  </a:cubicBezTo>
                  <a:cubicBezTo>
                    <a:pt x="0" y="163"/>
                    <a:pt x="171" y="0"/>
                    <a:pt x="382" y="1"/>
                  </a:cubicBezTo>
                  <a:cubicBezTo>
                    <a:pt x="535" y="1"/>
                    <a:pt x="674" y="87"/>
                    <a:pt x="736" y="220"/>
                  </a:cubicBezTo>
                  <a:cubicBezTo>
                    <a:pt x="487" y="322"/>
                    <a:pt x="487" y="322"/>
                    <a:pt x="487" y="322"/>
                  </a:cubicBezTo>
                  <a:cubicBezTo>
                    <a:pt x="470" y="285"/>
                    <a:pt x="430" y="258"/>
                    <a:pt x="385" y="258"/>
                  </a:cubicBezTo>
                  <a:cubicBezTo>
                    <a:pt x="323" y="258"/>
                    <a:pt x="274" y="305"/>
                    <a:pt x="274" y="363"/>
                  </a:cubicBezTo>
                  <a:cubicBezTo>
                    <a:pt x="275" y="421"/>
                    <a:pt x="325" y="469"/>
                    <a:pt x="386" y="469"/>
                  </a:cubicBezTo>
                  <a:cubicBezTo>
                    <a:pt x="391" y="469"/>
                    <a:pt x="396" y="468"/>
                    <a:pt x="401" y="468"/>
                  </a:cubicBezTo>
                  <a:close/>
                </a:path>
              </a:pathLst>
            </a:custGeom>
            <a:noFill/>
            <a:ln w="269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41">
              <a:extLst>
                <a:ext uri="{FF2B5EF4-FFF2-40B4-BE49-F238E27FC236}">
                  <a16:creationId xmlns="" xmlns:a16="http://schemas.microsoft.com/office/drawing/2014/main" id="{7666E4AD-59D5-41C7-9165-02344D6B92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8420" y="1155742"/>
              <a:ext cx="3252788" cy="5580063"/>
            </a:xfrm>
            <a:custGeom>
              <a:avLst/>
              <a:gdLst>
                <a:gd name="T0" fmla="*/ 434 w 482"/>
                <a:gd name="T1" fmla="*/ 564 h 828"/>
                <a:gd name="T2" fmla="*/ 411 w 482"/>
                <a:gd name="T3" fmla="*/ 828 h 828"/>
                <a:gd name="T4" fmla="*/ 20 w 482"/>
                <a:gd name="T5" fmla="*/ 387 h 828"/>
                <a:gd name="T6" fmla="*/ 482 w 482"/>
                <a:gd name="T7" fmla="*/ 20 h 828"/>
                <a:gd name="T8" fmla="*/ 459 w 482"/>
                <a:gd name="T9" fmla="*/ 284 h 828"/>
                <a:gd name="T10" fmla="*/ 299 w 482"/>
                <a:gd name="T11" fmla="*/ 411 h 828"/>
                <a:gd name="T12" fmla="*/ 434 w 482"/>
                <a:gd name="T13" fmla="*/ 564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828">
                  <a:moveTo>
                    <a:pt x="434" y="564"/>
                  </a:moveTo>
                  <a:cubicBezTo>
                    <a:pt x="411" y="828"/>
                    <a:pt x="411" y="828"/>
                    <a:pt x="411" y="828"/>
                  </a:cubicBezTo>
                  <a:cubicBezTo>
                    <a:pt x="176" y="807"/>
                    <a:pt x="0" y="610"/>
                    <a:pt x="20" y="387"/>
                  </a:cubicBezTo>
                  <a:cubicBezTo>
                    <a:pt x="39" y="164"/>
                    <a:pt x="246" y="0"/>
                    <a:pt x="482" y="20"/>
                  </a:cubicBezTo>
                  <a:cubicBezTo>
                    <a:pt x="459" y="284"/>
                    <a:pt x="459" y="284"/>
                    <a:pt x="459" y="284"/>
                  </a:cubicBezTo>
                  <a:cubicBezTo>
                    <a:pt x="377" y="277"/>
                    <a:pt x="306" y="334"/>
                    <a:pt x="299" y="411"/>
                  </a:cubicBezTo>
                  <a:cubicBezTo>
                    <a:pt x="292" y="488"/>
                    <a:pt x="353" y="556"/>
                    <a:pt x="434" y="564"/>
                  </a:cubicBezTo>
                  <a:close/>
                </a:path>
              </a:pathLst>
            </a:custGeom>
            <a:noFill/>
            <a:ln w="269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6673" y="214014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7789" y="303549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19" name="任意多边形: 形状 18">
            <a:extLst>
              <a:ext uri="{FF2B5EF4-FFF2-40B4-BE49-F238E27FC236}">
                <a16:creationId xmlns="" xmlns:a16="http://schemas.microsoft.com/office/drawing/2014/main" id="{4F821294-379D-438E-8CA5-58DA42F8D47C}"/>
              </a:ext>
            </a:extLst>
          </p:cNvPr>
          <p:cNvSpPr/>
          <p:nvPr userDrawn="1"/>
        </p:nvSpPr>
        <p:spPr>
          <a:xfrm>
            <a:off x="1" y="824455"/>
            <a:ext cx="1501833" cy="4744628"/>
          </a:xfrm>
          <a:custGeom>
            <a:avLst/>
            <a:gdLst>
              <a:gd name="connsiteX0" fmla="*/ 0 w 1501833"/>
              <a:gd name="connsiteY0" fmla="*/ 0 h 4744628"/>
              <a:gd name="connsiteX1" fmla="*/ 126023 w 1501833"/>
              <a:gd name="connsiteY1" fmla="*/ 60708 h 4744628"/>
              <a:gd name="connsiteX2" fmla="*/ 1501833 w 1501833"/>
              <a:gd name="connsiteY2" fmla="*/ 2372314 h 4744628"/>
              <a:gd name="connsiteX3" fmla="*/ 126023 w 1501833"/>
              <a:gd name="connsiteY3" fmla="*/ 4683920 h 4744628"/>
              <a:gd name="connsiteX4" fmla="*/ 0 w 1501833"/>
              <a:gd name="connsiteY4" fmla="*/ 4744628 h 4744628"/>
              <a:gd name="connsiteX5" fmla="*/ 0 w 1501833"/>
              <a:gd name="connsiteY5" fmla="*/ 4455902 h 4744628"/>
              <a:gd name="connsiteX6" fmla="*/ 1917 w 1501833"/>
              <a:gd name="connsiteY6" fmla="*/ 4454979 h 4744628"/>
              <a:gd name="connsiteX7" fmla="*/ 1241467 w 1501833"/>
              <a:gd name="connsiteY7" fmla="*/ 2372314 h 4744628"/>
              <a:gd name="connsiteX8" fmla="*/ 1917 w 1501833"/>
              <a:gd name="connsiteY8" fmla="*/ 289650 h 4744628"/>
              <a:gd name="connsiteX9" fmla="*/ 0 w 1501833"/>
              <a:gd name="connsiteY9" fmla="*/ 288726 h 4744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01833" h="4744628">
                <a:moveTo>
                  <a:pt x="0" y="0"/>
                </a:moveTo>
                <a:lnTo>
                  <a:pt x="126023" y="60708"/>
                </a:lnTo>
                <a:cubicBezTo>
                  <a:pt x="945517" y="505884"/>
                  <a:pt x="1501833" y="1374132"/>
                  <a:pt x="1501833" y="2372314"/>
                </a:cubicBezTo>
                <a:cubicBezTo>
                  <a:pt x="1501833" y="3370496"/>
                  <a:pt x="945517" y="4238744"/>
                  <a:pt x="126023" y="4683920"/>
                </a:cubicBezTo>
                <a:lnTo>
                  <a:pt x="0" y="4744628"/>
                </a:lnTo>
                <a:lnTo>
                  <a:pt x="0" y="4455902"/>
                </a:lnTo>
                <a:lnTo>
                  <a:pt x="1917" y="4454979"/>
                </a:lnTo>
                <a:cubicBezTo>
                  <a:pt x="740249" y="4053893"/>
                  <a:pt x="1241467" y="3271636"/>
                  <a:pt x="1241467" y="2372314"/>
                </a:cubicBezTo>
                <a:cubicBezTo>
                  <a:pt x="1241467" y="1472992"/>
                  <a:pt x="740249" y="690735"/>
                  <a:pt x="1917" y="289650"/>
                </a:cubicBezTo>
                <a:lnTo>
                  <a:pt x="0" y="28872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FB4B7-1A2B-4CBB-B6FB-C3E30120D399}" type="datetime1">
              <a:rPr lang="zh-CN" altLang="en-US" smtClean="0"/>
              <a:t>2020/6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2C9CA2-2387-4916-8C24-A86D127BC7BD}" type="datetime1">
              <a:rPr lang="zh-CN" altLang="en-US" smtClean="0"/>
              <a:t>2020/6/1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任意多边形: 形状 13">
            <a:extLst>
              <a:ext uri="{FF2B5EF4-FFF2-40B4-BE49-F238E27FC236}">
                <a16:creationId xmlns="" xmlns:a16="http://schemas.microsoft.com/office/drawing/2014/main" id="{F7B51D09-B86A-4EFD-B299-FE8EE4464B6E}"/>
              </a:ext>
            </a:extLst>
          </p:cNvPr>
          <p:cNvSpPr/>
          <p:nvPr userDrawn="1"/>
        </p:nvSpPr>
        <p:spPr>
          <a:xfrm flipH="1">
            <a:off x="11338584" y="1547325"/>
            <a:ext cx="847489" cy="3763348"/>
          </a:xfrm>
          <a:custGeom>
            <a:avLst/>
            <a:gdLst>
              <a:gd name="connsiteX0" fmla="*/ 0 w 847489"/>
              <a:gd name="connsiteY0" fmla="*/ 0 h 3763348"/>
              <a:gd name="connsiteX1" fmla="*/ 109174 w 847489"/>
              <a:gd name="connsiteY1" fmla="*/ 99224 h 3763348"/>
              <a:gd name="connsiteX2" fmla="*/ 847489 w 847489"/>
              <a:gd name="connsiteY2" fmla="*/ 1881674 h 3763348"/>
              <a:gd name="connsiteX3" fmla="*/ 109174 w 847489"/>
              <a:gd name="connsiteY3" fmla="*/ 3664124 h 3763348"/>
              <a:gd name="connsiteX4" fmla="*/ 0 w 847489"/>
              <a:gd name="connsiteY4" fmla="*/ 3763348 h 3763348"/>
              <a:gd name="connsiteX5" fmla="*/ 0 w 847489"/>
              <a:gd name="connsiteY5" fmla="*/ 3421337 h 3763348"/>
              <a:gd name="connsiteX6" fmla="*/ 83306 w 847489"/>
              <a:gd name="connsiteY6" fmla="*/ 3329677 h 3763348"/>
              <a:gd name="connsiteX7" fmla="*/ 603126 w 847489"/>
              <a:gd name="connsiteY7" fmla="*/ 1881674 h 3763348"/>
              <a:gd name="connsiteX8" fmla="*/ 83306 w 847489"/>
              <a:gd name="connsiteY8" fmla="*/ 433671 h 3763348"/>
              <a:gd name="connsiteX9" fmla="*/ 0 w 847489"/>
              <a:gd name="connsiteY9" fmla="*/ 342011 h 376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7489" h="3763348">
                <a:moveTo>
                  <a:pt x="0" y="0"/>
                </a:moveTo>
                <a:lnTo>
                  <a:pt x="109174" y="99224"/>
                </a:lnTo>
                <a:cubicBezTo>
                  <a:pt x="565343" y="555393"/>
                  <a:pt x="847489" y="1185584"/>
                  <a:pt x="847489" y="1881674"/>
                </a:cubicBezTo>
                <a:cubicBezTo>
                  <a:pt x="847489" y="2577764"/>
                  <a:pt x="565343" y="3207956"/>
                  <a:pt x="109174" y="3664124"/>
                </a:cubicBezTo>
                <a:lnTo>
                  <a:pt x="0" y="3763348"/>
                </a:lnTo>
                <a:lnTo>
                  <a:pt x="0" y="3421337"/>
                </a:lnTo>
                <a:lnTo>
                  <a:pt x="83306" y="3329677"/>
                </a:lnTo>
                <a:cubicBezTo>
                  <a:pt x="408049" y="2936181"/>
                  <a:pt x="603126" y="2431709"/>
                  <a:pt x="603126" y="1881674"/>
                </a:cubicBezTo>
                <a:cubicBezTo>
                  <a:pt x="603126" y="1331640"/>
                  <a:pt x="408049" y="827168"/>
                  <a:pt x="83306" y="433671"/>
                </a:cubicBezTo>
                <a:lnTo>
                  <a:pt x="0" y="3420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820794" y="1992192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820794" y="4298428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0795" y="4002157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="" xmlns:a16="http://schemas.microsoft.com/office/drawing/2014/main" id="{F3D2D4EB-BFFF-4465-8419-CADA6371E407}"/>
              </a:ext>
            </a:extLst>
          </p:cNvPr>
          <p:cNvGrpSpPr/>
          <p:nvPr userDrawn="1"/>
        </p:nvGrpSpPr>
        <p:grpSpPr>
          <a:xfrm flipH="1">
            <a:off x="0" y="537885"/>
            <a:ext cx="5574957" cy="5782229"/>
            <a:chOff x="6608420" y="1155742"/>
            <a:chExt cx="5380038" cy="5580063"/>
          </a:xfrm>
        </p:grpSpPr>
        <p:sp>
          <p:nvSpPr>
            <p:cNvPr id="9" name="Freeform 138">
              <a:extLst>
                <a:ext uri="{FF2B5EF4-FFF2-40B4-BE49-F238E27FC236}">
                  <a16:creationId xmlns="" xmlns:a16="http://schemas.microsoft.com/office/drawing/2014/main" id="{9DAE7D4A-6E81-491D-99A3-E04E859A17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94258" y="2086017"/>
              <a:ext cx="4062413" cy="3854450"/>
            </a:xfrm>
            <a:custGeom>
              <a:avLst/>
              <a:gdLst>
                <a:gd name="T0" fmla="*/ 324 w 602"/>
                <a:gd name="T1" fmla="*/ 14 h 572"/>
                <a:gd name="T2" fmla="*/ 588 w 602"/>
                <a:gd name="T3" fmla="*/ 311 h 572"/>
                <a:gd name="T4" fmla="*/ 277 w 602"/>
                <a:gd name="T5" fmla="*/ 558 h 572"/>
                <a:gd name="T6" fmla="*/ 13 w 602"/>
                <a:gd name="T7" fmla="*/ 261 h 572"/>
                <a:gd name="T8" fmla="*/ 324 w 602"/>
                <a:gd name="T9" fmla="*/ 14 h 572"/>
                <a:gd name="T10" fmla="*/ 297 w 602"/>
                <a:gd name="T11" fmla="*/ 331 h 572"/>
                <a:gd name="T12" fmla="*/ 348 w 602"/>
                <a:gd name="T13" fmla="*/ 290 h 572"/>
                <a:gd name="T14" fmla="*/ 305 w 602"/>
                <a:gd name="T15" fmla="*/ 241 h 572"/>
                <a:gd name="T16" fmla="*/ 253 w 602"/>
                <a:gd name="T17" fmla="*/ 282 h 572"/>
                <a:gd name="T18" fmla="*/ 297 w 602"/>
                <a:gd name="T19" fmla="*/ 331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2" h="572">
                  <a:moveTo>
                    <a:pt x="324" y="14"/>
                  </a:moveTo>
                  <a:cubicBezTo>
                    <a:pt x="483" y="28"/>
                    <a:pt x="602" y="161"/>
                    <a:pt x="588" y="311"/>
                  </a:cubicBezTo>
                  <a:cubicBezTo>
                    <a:pt x="575" y="461"/>
                    <a:pt x="436" y="572"/>
                    <a:pt x="277" y="558"/>
                  </a:cubicBezTo>
                  <a:cubicBezTo>
                    <a:pt x="118" y="544"/>
                    <a:pt x="0" y="411"/>
                    <a:pt x="13" y="261"/>
                  </a:cubicBezTo>
                  <a:cubicBezTo>
                    <a:pt x="26" y="110"/>
                    <a:pt x="165" y="0"/>
                    <a:pt x="324" y="14"/>
                  </a:cubicBezTo>
                  <a:close/>
                  <a:moveTo>
                    <a:pt x="297" y="331"/>
                  </a:moveTo>
                  <a:cubicBezTo>
                    <a:pt x="323" y="333"/>
                    <a:pt x="346" y="315"/>
                    <a:pt x="348" y="290"/>
                  </a:cubicBezTo>
                  <a:cubicBezTo>
                    <a:pt x="350" y="265"/>
                    <a:pt x="331" y="243"/>
                    <a:pt x="305" y="241"/>
                  </a:cubicBezTo>
                  <a:cubicBezTo>
                    <a:pt x="278" y="239"/>
                    <a:pt x="255" y="257"/>
                    <a:pt x="253" y="282"/>
                  </a:cubicBezTo>
                  <a:cubicBezTo>
                    <a:pt x="251" y="307"/>
                    <a:pt x="270" y="329"/>
                    <a:pt x="297" y="331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39">
              <a:extLst>
                <a:ext uri="{FF2B5EF4-FFF2-40B4-BE49-F238E27FC236}">
                  <a16:creationId xmlns="" xmlns:a16="http://schemas.microsoft.com/office/drawing/2014/main" id="{EE97B6F0-F182-481F-93F0-209F472888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3433" y="1782805"/>
              <a:ext cx="4630738" cy="3302000"/>
            </a:xfrm>
            <a:custGeom>
              <a:avLst/>
              <a:gdLst>
                <a:gd name="T0" fmla="*/ 267 w 686"/>
                <a:gd name="T1" fmla="*/ 357 h 490"/>
                <a:gd name="T2" fmla="*/ 27 w 686"/>
                <a:gd name="T3" fmla="*/ 445 h 490"/>
                <a:gd name="T4" fmla="*/ 5 w 686"/>
                <a:gd name="T5" fmla="*/ 302 h 490"/>
                <a:gd name="T6" fmla="*/ 365 w 686"/>
                <a:gd name="T7" fmla="*/ 16 h 490"/>
                <a:gd name="T8" fmla="*/ 670 w 686"/>
                <a:gd name="T9" fmla="*/ 360 h 490"/>
                <a:gd name="T10" fmla="*/ 628 w 686"/>
                <a:gd name="T11" fmla="*/ 490 h 490"/>
                <a:gd name="T12" fmla="*/ 403 w 686"/>
                <a:gd name="T13" fmla="*/ 367 h 490"/>
                <a:gd name="T14" fmla="*/ 413 w 686"/>
                <a:gd name="T15" fmla="*/ 337 h 490"/>
                <a:gd name="T16" fmla="*/ 344 w 686"/>
                <a:gd name="T17" fmla="*/ 260 h 490"/>
                <a:gd name="T18" fmla="*/ 262 w 686"/>
                <a:gd name="T19" fmla="*/ 324 h 490"/>
                <a:gd name="T20" fmla="*/ 267 w 686"/>
                <a:gd name="T21" fmla="*/ 3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490">
                  <a:moveTo>
                    <a:pt x="267" y="357"/>
                  </a:moveTo>
                  <a:cubicBezTo>
                    <a:pt x="27" y="445"/>
                    <a:pt x="27" y="445"/>
                    <a:pt x="27" y="445"/>
                  </a:cubicBezTo>
                  <a:cubicBezTo>
                    <a:pt x="8" y="399"/>
                    <a:pt x="0" y="350"/>
                    <a:pt x="5" y="302"/>
                  </a:cubicBezTo>
                  <a:cubicBezTo>
                    <a:pt x="20" y="128"/>
                    <a:pt x="181" y="0"/>
                    <a:pt x="365" y="16"/>
                  </a:cubicBezTo>
                  <a:cubicBezTo>
                    <a:pt x="549" y="32"/>
                    <a:pt x="686" y="186"/>
                    <a:pt x="670" y="360"/>
                  </a:cubicBezTo>
                  <a:cubicBezTo>
                    <a:pt x="666" y="406"/>
                    <a:pt x="652" y="450"/>
                    <a:pt x="628" y="490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409" y="358"/>
                    <a:pt x="412" y="348"/>
                    <a:pt x="413" y="337"/>
                  </a:cubicBezTo>
                  <a:cubicBezTo>
                    <a:pt x="416" y="298"/>
                    <a:pt x="385" y="263"/>
                    <a:pt x="344" y="260"/>
                  </a:cubicBezTo>
                  <a:cubicBezTo>
                    <a:pt x="302" y="256"/>
                    <a:pt x="266" y="285"/>
                    <a:pt x="262" y="324"/>
                  </a:cubicBezTo>
                  <a:cubicBezTo>
                    <a:pt x="261" y="336"/>
                    <a:pt x="263" y="347"/>
                    <a:pt x="267" y="3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40">
              <a:extLst>
                <a:ext uri="{FF2B5EF4-FFF2-40B4-BE49-F238E27FC236}">
                  <a16:creationId xmlns="" xmlns:a16="http://schemas.microsoft.com/office/drawing/2014/main" id="{B8CADAE5-070A-4F5A-9FB1-B4291CC27C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9583" y="1554205"/>
              <a:ext cx="4968875" cy="4892675"/>
            </a:xfrm>
            <a:custGeom>
              <a:avLst/>
              <a:gdLst>
                <a:gd name="T0" fmla="*/ 401 w 736"/>
                <a:gd name="T1" fmla="*/ 468 h 726"/>
                <a:gd name="T2" fmla="*/ 439 w 736"/>
                <a:gd name="T3" fmla="*/ 723 h 726"/>
                <a:gd name="T4" fmla="*/ 389 w 736"/>
                <a:gd name="T5" fmla="*/ 726 h 726"/>
                <a:gd name="T6" fmla="*/ 2 w 736"/>
                <a:gd name="T7" fmla="*/ 363 h 726"/>
                <a:gd name="T8" fmla="*/ 382 w 736"/>
                <a:gd name="T9" fmla="*/ 1 h 726"/>
                <a:gd name="T10" fmla="*/ 736 w 736"/>
                <a:gd name="T11" fmla="*/ 220 h 726"/>
                <a:gd name="T12" fmla="*/ 487 w 736"/>
                <a:gd name="T13" fmla="*/ 322 h 726"/>
                <a:gd name="T14" fmla="*/ 385 w 736"/>
                <a:gd name="T15" fmla="*/ 258 h 726"/>
                <a:gd name="T16" fmla="*/ 274 w 736"/>
                <a:gd name="T17" fmla="*/ 363 h 726"/>
                <a:gd name="T18" fmla="*/ 386 w 736"/>
                <a:gd name="T19" fmla="*/ 469 h 726"/>
                <a:gd name="T20" fmla="*/ 401 w 736"/>
                <a:gd name="T21" fmla="*/ 468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6" h="726">
                  <a:moveTo>
                    <a:pt x="401" y="468"/>
                  </a:moveTo>
                  <a:cubicBezTo>
                    <a:pt x="439" y="723"/>
                    <a:pt x="439" y="723"/>
                    <a:pt x="439" y="723"/>
                  </a:cubicBezTo>
                  <a:cubicBezTo>
                    <a:pt x="422" y="725"/>
                    <a:pt x="405" y="726"/>
                    <a:pt x="389" y="726"/>
                  </a:cubicBezTo>
                  <a:cubicBezTo>
                    <a:pt x="177" y="726"/>
                    <a:pt x="4" y="563"/>
                    <a:pt x="2" y="363"/>
                  </a:cubicBezTo>
                  <a:cubicBezTo>
                    <a:pt x="0" y="163"/>
                    <a:pt x="171" y="0"/>
                    <a:pt x="382" y="1"/>
                  </a:cubicBezTo>
                  <a:cubicBezTo>
                    <a:pt x="535" y="1"/>
                    <a:pt x="674" y="87"/>
                    <a:pt x="736" y="220"/>
                  </a:cubicBezTo>
                  <a:cubicBezTo>
                    <a:pt x="487" y="322"/>
                    <a:pt x="487" y="322"/>
                    <a:pt x="487" y="322"/>
                  </a:cubicBezTo>
                  <a:cubicBezTo>
                    <a:pt x="470" y="285"/>
                    <a:pt x="430" y="258"/>
                    <a:pt x="385" y="258"/>
                  </a:cubicBezTo>
                  <a:cubicBezTo>
                    <a:pt x="323" y="258"/>
                    <a:pt x="274" y="305"/>
                    <a:pt x="274" y="363"/>
                  </a:cubicBezTo>
                  <a:cubicBezTo>
                    <a:pt x="275" y="421"/>
                    <a:pt x="325" y="469"/>
                    <a:pt x="386" y="469"/>
                  </a:cubicBezTo>
                  <a:cubicBezTo>
                    <a:pt x="391" y="469"/>
                    <a:pt x="396" y="468"/>
                    <a:pt x="401" y="468"/>
                  </a:cubicBezTo>
                  <a:close/>
                </a:path>
              </a:pathLst>
            </a:custGeom>
            <a:blipFill dpi="0" rotWithShape="0">
              <a:blip r:embed="rId2"/>
              <a:srcRect/>
              <a:stretch>
                <a:fillRect l="-29057" t="-69" r="-28915" b="-69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41">
              <a:extLst>
                <a:ext uri="{FF2B5EF4-FFF2-40B4-BE49-F238E27FC236}">
                  <a16:creationId xmlns="" xmlns:a16="http://schemas.microsoft.com/office/drawing/2014/main" id="{04C98D03-7078-48A1-BD1C-E988C84ABC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8420" y="1155742"/>
              <a:ext cx="3252788" cy="5580063"/>
            </a:xfrm>
            <a:custGeom>
              <a:avLst/>
              <a:gdLst>
                <a:gd name="T0" fmla="*/ 434 w 482"/>
                <a:gd name="T1" fmla="*/ 564 h 828"/>
                <a:gd name="T2" fmla="*/ 411 w 482"/>
                <a:gd name="T3" fmla="*/ 828 h 828"/>
                <a:gd name="T4" fmla="*/ 20 w 482"/>
                <a:gd name="T5" fmla="*/ 387 h 828"/>
                <a:gd name="T6" fmla="*/ 482 w 482"/>
                <a:gd name="T7" fmla="*/ 20 h 828"/>
                <a:gd name="T8" fmla="*/ 459 w 482"/>
                <a:gd name="T9" fmla="*/ 284 h 828"/>
                <a:gd name="T10" fmla="*/ 299 w 482"/>
                <a:gd name="T11" fmla="*/ 411 h 828"/>
                <a:gd name="T12" fmla="*/ 434 w 482"/>
                <a:gd name="T13" fmla="*/ 564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828">
                  <a:moveTo>
                    <a:pt x="434" y="564"/>
                  </a:moveTo>
                  <a:cubicBezTo>
                    <a:pt x="411" y="828"/>
                    <a:pt x="411" y="828"/>
                    <a:pt x="411" y="828"/>
                  </a:cubicBezTo>
                  <a:cubicBezTo>
                    <a:pt x="176" y="807"/>
                    <a:pt x="0" y="610"/>
                    <a:pt x="20" y="387"/>
                  </a:cubicBezTo>
                  <a:cubicBezTo>
                    <a:pt x="39" y="164"/>
                    <a:pt x="246" y="0"/>
                    <a:pt x="482" y="20"/>
                  </a:cubicBezTo>
                  <a:cubicBezTo>
                    <a:pt x="459" y="284"/>
                    <a:pt x="459" y="284"/>
                    <a:pt x="459" y="284"/>
                  </a:cubicBezTo>
                  <a:cubicBezTo>
                    <a:pt x="377" y="277"/>
                    <a:pt x="306" y="334"/>
                    <a:pt x="299" y="411"/>
                  </a:cubicBezTo>
                  <a:cubicBezTo>
                    <a:pt x="292" y="488"/>
                    <a:pt x="353" y="556"/>
                    <a:pt x="434" y="564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 l="-59861" t="103" r="-150223" b="-103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="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B73A90F-071E-4EF9-AFCE-368CF911855C}" type="datetime1">
              <a:rPr lang="zh-CN" altLang="en-US" smtClean="0"/>
              <a:t>2020/6/1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="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Proj2. </a:t>
            </a:r>
            <a:r>
              <a:rPr lang="en-US" altLang="zh-CN" dirty="0" err="1" smtClean="0"/>
              <a:t>btree</a:t>
            </a:r>
            <a:r>
              <a:rPr lang="zh-CN" altLang="en-US" dirty="0" smtClean="0"/>
              <a:t>索引实现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 smtClean="0"/>
              <a:t>主讲：聂晓文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smtClean="0"/>
              <a:t>Email</a:t>
            </a:r>
            <a:r>
              <a:rPr lang="zh-CN" altLang="en-US" dirty="0" smtClean="0"/>
              <a:t>：</a:t>
            </a:r>
            <a:r>
              <a:rPr lang="en-US" altLang="zh-CN" dirty="0" smtClean="0"/>
              <a:t>niexiaowen@uestc.edu.cn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实验目标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设计思路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 </a:t>
            </a:r>
            <a:r>
              <a:rPr lang="zh-CN" altLang="en-US" dirty="0" smtClean="0"/>
              <a:t>实验目标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sz="2400" dirty="0" smtClean="0"/>
              <a:t>根据第</a:t>
            </a:r>
            <a:r>
              <a:rPr lang="en-US" altLang="zh-CN" sz="2400" dirty="0" smtClean="0"/>
              <a:t>2</a:t>
            </a:r>
            <a:r>
              <a:rPr lang="zh-CN" altLang="en-US" sz="2400" dirty="0" smtClean="0"/>
              <a:t>章</a:t>
            </a:r>
            <a:r>
              <a:rPr lang="en-US" altLang="zh-CN" sz="2400" dirty="0" err="1" smtClean="0"/>
              <a:t>btree</a:t>
            </a:r>
            <a:r>
              <a:rPr lang="zh-CN" altLang="en-US" sz="2400" dirty="0" smtClean="0"/>
              <a:t>的知识设计并实现一个磁盘存储的索引：</a:t>
            </a:r>
            <a:endParaRPr lang="en-US" altLang="zh-CN" sz="2400" dirty="0" smtClean="0"/>
          </a:p>
          <a:p>
            <a:pPr lvl="1"/>
            <a:r>
              <a:rPr lang="zh-CN" altLang="en-US" sz="2000" dirty="0" smtClean="0"/>
              <a:t>查找</a:t>
            </a:r>
            <a:endParaRPr lang="en-US" altLang="zh-CN" sz="2000" dirty="0"/>
          </a:p>
          <a:p>
            <a:pPr lvl="1"/>
            <a:r>
              <a:rPr lang="zh-CN" altLang="en-US" sz="2000" dirty="0" smtClean="0"/>
              <a:t>插入一个条目</a:t>
            </a:r>
            <a:endParaRPr lang="en-US" altLang="zh-CN" sz="2000" dirty="0"/>
          </a:p>
          <a:p>
            <a:pPr lvl="1"/>
            <a:r>
              <a:rPr lang="zh-CN" altLang="en-US" sz="2000" dirty="0" smtClean="0"/>
              <a:t>删除一个条目</a:t>
            </a:r>
            <a:endParaRPr lang="en-US" altLang="zh-CN" sz="2000" dirty="0"/>
          </a:p>
          <a:p>
            <a:pPr lvl="1"/>
            <a:endParaRPr lang="en-US" altLang="zh-CN" sz="2000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2673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. </a:t>
            </a:r>
            <a:r>
              <a:rPr lang="zh-CN" altLang="en-US" dirty="0" smtClean="0"/>
              <a:t>设计思路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/>
              <a:t>模仿</a:t>
            </a:r>
            <a:r>
              <a:rPr lang="en-US" altLang="zh-CN" sz="2400" dirty="0" err="1" smtClean="0"/>
              <a:t>InnoDB</a:t>
            </a:r>
            <a:r>
              <a:rPr lang="zh-CN" altLang="en-US" sz="2400" dirty="0" smtClean="0"/>
              <a:t>的设计思路，一个自解释的</a:t>
            </a:r>
            <a:r>
              <a:rPr lang="en-US" altLang="zh-CN" sz="2400" dirty="0" smtClean="0"/>
              <a:t>record</a:t>
            </a:r>
            <a:r>
              <a:rPr lang="zh-CN" altLang="en-US" sz="2400" dirty="0" smtClean="0"/>
              <a:t>结构，分为</a:t>
            </a:r>
            <a:r>
              <a:rPr lang="en-US" altLang="zh-CN" sz="2400" dirty="0" smtClean="0"/>
              <a:t>4</a:t>
            </a:r>
            <a:r>
              <a:rPr lang="zh-CN" altLang="en-US" sz="2400" dirty="0" smtClean="0"/>
              <a:t>个部分：</a:t>
            </a:r>
            <a:endParaRPr lang="en-US" altLang="zh-CN" sz="2400" dirty="0" smtClean="0"/>
          </a:p>
          <a:p>
            <a:pPr lvl="1"/>
            <a:r>
              <a:rPr lang="zh-CN" altLang="en-US" sz="2200" dirty="0" smtClean="0"/>
              <a:t>记录长度</a:t>
            </a:r>
            <a:endParaRPr lang="en-US" altLang="zh-CN" sz="2200" dirty="0" smtClean="0"/>
          </a:p>
          <a:p>
            <a:pPr lvl="1"/>
            <a:r>
              <a:rPr lang="zh-CN" altLang="en-US" sz="2200" dirty="0" smtClean="0"/>
              <a:t>字段偏移量数组，逆序，从</a:t>
            </a:r>
            <a:r>
              <a:rPr lang="en-US" altLang="zh-CN" sz="2200" dirty="0" smtClean="0"/>
              <a:t>header</a:t>
            </a:r>
            <a:r>
              <a:rPr lang="zh-CN" altLang="en-US" sz="2200" smtClean="0"/>
              <a:t>开始到各字段</a:t>
            </a:r>
            <a:r>
              <a:rPr lang="zh-CN" altLang="en-US" sz="2200" dirty="0" smtClean="0"/>
              <a:t>头部的偏移量</a:t>
            </a:r>
            <a:endParaRPr lang="en-US" altLang="zh-CN" sz="2200" dirty="0" smtClean="0"/>
          </a:p>
          <a:p>
            <a:pPr lvl="1"/>
            <a:r>
              <a:rPr lang="en-US" altLang="zh-CN" sz="2200" dirty="0" smtClean="0"/>
              <a:t>Header</a:t>
            </a:r>
            <a:r>
              <a:rPr lang="zh-CN" altLang="en-US" sz="2200" dirty="0" smtClean="0"/>
              <a:t>，类型</a:t>
            </a:r>
            <a:endParaRPr lang="en-US" altLang="zh-CN" sz="2200" dirty="0" smtClean="0"/>
          </a:p>
          <a:p>
            <a:pPr lvl="1"/>
            <a:r>
              <a:rPr lang="zh-CN" altLang="en-US" sz="2200" dirty="0" smtClean="0"/>
              <a:t>各字段顺序摆放</a:t>
            </a:r>
            <a:endParaRPr lang="en-US" altLang="zh-CN" sz="2200" dirty="0" smtClean="0"/>
          </a:p>
          <a:p>
            <a:pPr lvl="1"/>
            <a:endParaRPr lang="zh-CN" altLang="en-US" sz="2200" dirty="0"/>
          </a:p>
        </p:txBody>
      </p:sp>
      <p:sp>
        <p:nvSpPr>
          <p:cNvPr id="6" name="矩形 5"/>
          <p:cNvSpPr/>
          <p:nvPr/>
        </p:nvSpPr>
        <p:spPr>
          <a:xfrm>
            <a:off x="2833544" y="4599853"/>
            <a:ext cx="1302327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记录长度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6204816" y="4599853"/>
            <a:ext cx="1302327" cy="711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Header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7507144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8347654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2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9188163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…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10028673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5717308" y="4599853"/>
            <a:ext cx="487507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5229800" y="4599853"/>
            <a:ext cx="487507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2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4145536" y="4599853"/>
            <a:ext cx="487507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4633044" y="4599853"/>
            <a:ext cx="596756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…</a:t>
            </a:r>
            <a:endParaRPr lang="zh-CN" altLang="en-US" dirty="0"/>
          </a:p>
        </p:txBody>
      </p:sp>
      <p:cxnSp>
        <p:nvCxnSpPr>
          <p:cNvPr id="18" name="肘形连接符 17"/>
          <p:cNvCxnSpPr>
            <a:stCxn id="13" idx="0"/>
            <a:endCxn id="9" idx="0"/>
          </p:cNvCxnSpPr>
          <p:nvPr/>
        </p:nvCxnSpPr>
        <p:spPr>
          <a:xfrm rot="5400000" flipH="1" flipV="1">
            <a:off x="6944230" y="3616685"/>
            <a:ext cx="12700" cy="1966337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4" idx="0"/>
            <a:endCxn id="10" idx="0"/>
          </p:cNvCxnSpPr>
          <p:nvPr/>
        </p:nvCxnSpPr>
        <p:spPr>
          <a:xfrm rot="5400000" flipH="1" flipV="1">
            <a:off x="7120731" y="2952676"/>
            <a:ext cx="12700" cy="3294355"/>
          </a:xfrm>
          <a:prstGeom prst="bentConnector3">
            <a:avLst>
              <a:gd name="adj1" fmla="val 332726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/>
          <p:cNvCxnSpPr>
            <a:stCxn id="15" idx="0"/>
            <a:endCxn id="12" idx="0"/>
          </p:cNvCxnSpPr>
          <p:nvPr/>
        </p:nvCxnSpPr>
        <p:spPr>
          <a:xfrm rot="5400000" flipH="1" flipV="1">
            <a:off x="7407459" y="1581684"/>
            <a:ext cx="36000" cy="6059638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4653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/>
              <a:t>变长的整数存储格式</a:t>
            </a:r>
            <a:endParaRPr lang="en-US" altLang="zh-CN" sz="2400" dirty="0" smtClean="0"/>
          </a:p>
          <a:p>
            <a:pPr lvl="1"/>
            <a:r>
              <a:rPr lang="en-US" altLang="zh-CN" sz="2000" dirty="0" smtClean="0"/>
              <a:t>2bit</a:t>
            </a:r>
            <a:r>
              <a:rPr lang="zh-CN" altLang="en-US" sz="2000" dirty="0" smtClean="0"/>
              <a:t>对应于</a:t>
            </a:r>
            <a:r>
              <a:rPr lang="en-US" altLang="zh-CN" sz="2000" dirty="0" smtClean="0"/>
              <a:t>1/2/4/8B</a:t>
            </a:r>
          </a:p>
          <a:p>
            <a:pPr lvl="1"/>
            <a:r>
              <a:rPr lang="zh-CN" altLang="en-US" sz="2000" dirty="0" smtClean="0"/>
              <a:t>网络字节序存储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4671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 smtClean="0"/>
              <a:t>Block</a:t>
            </a:r>
            <a:r>
              <a:rPr lang="zh-CN" altLang="en-US" sz="2400" dirty="0" smtClean="0"/>
              <a:t>设计</a:t>
            </a:r>
            <a:endParaRPr lang="en-US" altLang="zh-CN" sz="2400" dirty="0" smtClean="0"/>
          </a:p>
          <a:p>
            <a:pPr lvl="1"/>
            <a:r>
              <a:rPr lang="en-US" altLang="zh-CN" sz="2200" dirty="0" smtClean="0"/>
              <a:t>&lt;2^16B</a:t>
            </a:r>
          </a:p>
          <a:p>
            <a:pPr lvl="1"/>
            <a:r>
              <a:rPr lang="zh-CN" altLang="en-US" sz="2200" dirty="0" smtClean="0"/>
              <a:t>按</a:t>
            </a:r>
            <a:r>
              <a:rPr lang="en-US" altLang="zh-CN" sz="2200" dirty="0" smtClean="0"/>
              <a:t>4B/8B</a:t>
            </a:r>
            <a:r>
              <a:rPr lang="zh-CN" altLang="en-US" sz="2200" dirty="0" smtClean="0"/>
              <a:t>对齐</a:t>
            </a:r>
            <a:endParaRPr lang="en-US" altLang="zh-CN" sz="2200" dirty="0" smtClean="0"/>
          </a:p>
          <a:p>
            <a:pPr lvl="1"/>
            <a:r>
              <a:rPr lang="en-US" altLang="zh-CN" sz="2000" dirty="0" smtClean="0"/>
              <a:t>Common Header</a:t>
            </a:r>
          </a:p>
          <a:p>
            <a:pPr lvl="1"/>
            <a:r>
              <a:rPr lang="en-US" altLang="zh-CN" sz="2000" dirty="0" smtClean="0"/>
              <a:t>Data/Index Header</a:t>
            </a:r>
          </a:p>
          <a:p>
            <a:pPr lvl="1"/>
            <a:r>
              <a:rPr lang="en-US" altLang="zh-CN" sz="2000" dirty="0" smtClean="0"/>
              <a:t>Data/Index</a:t>
            </a:r>
          </a:p>
          <a:p>
            <a:pPr lvl="1"/>
            <a:r>
              <a:rPr lang="en-US" altLang="zh-CN" sz="2000" dirty="0" smtClean="0"/>
              <a:t>Free Space</a:t>
            </a:r>
          </a:p>
          <a:p>
            <a:pPr lvl="1"/>
            <a:r>
              <a:rPr lang="en-US" altLang="zh-CN" sz="2000" dirty="0" smtClean="0"/>
              <a:t>Slots</a:t>
            </a:r>
          </a:p>
          <a:p>
            <a:pPr lvl="1"/>
            <a:r>
              <a:rPr lang="en-US" altLang="zh-CN" sz="2000" dirty="0" smtClean="0"/>
              <a:t>Trailer</a:t>
            </a:r>
            <a:endParaRPr lang="zh-CN" altLang="en-US" sz="2000" dirty="0"/>
          </a:p>
        </p:txBody>
      </p:sp>
      <p:sp>
        <p:nvSpPr>
          <p:cNvPr id="7" name="矩形 6"/>
          <p:cNvSpPr/>
          <p:nvPr/>
        </p:nvSpPr>
        <p:spPr>
          <a:xfrm>
            <a:off x="7813959" y="1311564"/>
            <a:ext cx="3688051" cy="424872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mmon Header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7813959" y="1736436"/>
            <a:ext cx="3688051" cy="4248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ata/Index Header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7813959" y="2161307"/>
            <a:ext cx="3688051" cy="156094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ata/Index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7813959" y="3722254"/>
            <a:ext cx="3688051" cy="895928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ree space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7813959" y="4618182"/>
            <a:ext cx="3688051" cy="42487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lots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7813959" y="5043054"/>
            <a:ext cx="3688051" cy="424872"/>
          </a:xfrm>
          <a:prstGeom prst="rect">
            <a:avLst/>
          </a:prstGeom>
          <a:solidFill>
            <a:srgbClr val="A2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railer</a:t>
            </a:r>
            <a:endParaRPr lang="zh-CN" altLang="en-US" dirty="0"/>
          </a:p>
        </p:txBody>
      </p:sp>
      <p:cxnSp>
        <p:nvCxnSpPr>
          <p:cNvPr id="15" name="直接连接符 14"/>
          <p:cNvCxnSpPr/>
          <p:nvPr/>
        </p:nvCxnSpPr>
        <p:spPr>
          <a:xfrm flipH="1">
            <a:off x="6216073" y="1311564"/>
            <a:ext cx="1597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H="1">
            <a:off x="6982691" y="1736436"/>
            <a:ext cx="8312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H="1">
            <a:off x="7015016" y="5043054"/>
            <a:ext cx="7989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H="1">
            <a:off x="6216073" y="5467926"/>
            <a:ext cx="1597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7398325" y="1736436"/>
            <a:ext cx="16162" cy="3306618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6629400" y="1311564"/>
            <a:ext cx="24063" cy="4156362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/>
          <p:cNvSpPr txBox="1"/>
          <p:nvPr/>
        </p:nvSpPr>
        <p:spPr>
          <a:xfrm rot="16200000">
            <a:off x="6129645" y="3205078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block</a:t>
            </a:r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 rot="16200000">
            <a:off x="6649412" y="3210642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data/index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3832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sz="2400" dirty="0" smtClean="0"/>
              <a:t>Common Header</a:t>
            </a:r>
          </a:p>
          <a:p>
            <a:pPr lvl="1"/>
            <a:r>
              <a:rPr lang="en-US" altLang="zh-CN" sz="2000" dirty="0" err="1" smtClean="0"/>
              <a:t>SpaceId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Free space pointer</a:t>
            </a:r>
          </a:p>
          <a:p>
            <a:pPr lvl="1"/>
            <a:r>
              <a:rPr lang="en-US" altLang="zh-CN" sz="2000" dirty="0" smtClean="0"/>
              <a:t>Garbage chain</a:t>
            </a:r>
          </a:p>
          <a:p>
            <a:pPr lvl="1"/>
            <a:r>
              <a:rPr lang="en-US" altLang="zh-CN" sz="2000" dirty="0" err="1" smtClean="0"/>
              <a:t>BlockId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Next block</a:t>
            </a:r>
          </a:p>
          <a:p>
            <a:r>
              <a:rPr lang="en-US" altLang="zh-CN" sz="2400" dirty="0" smtClean="0"/>
              <a:t>Trailer</a:t>
            </a:r>
          </a:p>
          <a:p>
            <a:pPr lvl="1"/>
            <a:r>
              <a:rPr lang="en-US" altLang="zh-CN" sz="2000" dirty="0" smtClean="0"/>
              <a:t>Checksum32</a:t>
            </a:r>
          </a:p>
          <a:p>
            <a:r>
              <a:rPr lang="en-US" altLang="zh-CN" sz="2400" dirty="0"/>
              <a:t>Data Header</a:t>
            </a:r>
          </a:p>
          <a:p>
            <a:pPr lvl="1"/>
            <a:r>
              <a:rPr lang="en-US" altLang="zh-CN" sz="2000" dirty="0"/>
              <a:t>Rows</a:t>
            </a:r>
          </a:p>
          <a:p>
            <a:pPr lvl="1"/>
            <a:r>
              <a:rPr lang="en-US" altLang="zh-CN" sz="2000" dirty="0"/>
              <a:t>Slots</a:t>
            </a:r>
          </a:p>
          <a:p>
            <a:pPr lvl="1"/>
            <a:endParaRPr lang="en-US" altLang="zh-CN" sz="2000" dirty="0" smtClean="0"/>
          </a:p>
          <a:p>
            <a:pPr lvl="1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127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Thanks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83f69f9a-b8bc-4b2f-b5f7-5f394c2dd0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F9EC4"/>
      </a:accent1>
      <a:accent2>
        <a:srgbClr val="B3D9E2"/>
      </a:accent2>
      <a:accent3>
        <a:srgbClr val="94C4C2"/>
      </a:accent3>
      <a:accent4>
        <a:srgbClr val="1096A8"/>
      </a:accent4>
      <a:accent5>
        <a:srgbClr val="5F5F5F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演示文稿3" id="{3B2BAA01-7C78-4E2D-A7FF-4A9B4EEE3F85}" vid="{564F1C3C-DF91-488C-931E-D179B47F465C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9EC4"/>
    </a:accent1>
    <a:accent2>
      <a:srgbClr val="B3D9E2"/>
    </a:accent2>
    <a:accent3>
      <a:srgbClr val="94C4C2"/>
    </a:accent3>
    <a:accent4>
      <a:srgbClr val="1096A8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9EC4"/>
    </a:accent1>
    <a:accent2>
      <a:srgbClr val="B3D9E2"/>
    </a:accent2>
    <a:accent3>
      <a:srgbClr val="94C4C2"/>
    </a:accent3>
    <a:accent4>
      <a:srgbClr val="1096A8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9EC4"/>
    </a:accent1>
    <a:accent2>
      <a:srgbClr val="B3D9E2"/>
    </a:accent2>
    <a:accent3>
      <a:srgbClr val="94C4C2"/>
    </a:accent3>
    <a:accent4>
      <a:srgbClr val="1096A8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模板</Template>
  <TotalTime>136</TotalTime>
  <Words>190</Words>
  <Application>Microsoft Office PowerPoint</Application>
  <PresentationFormat>宽屏</PresentationFormat>
  <Paragraphs>72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4" baseType="lpstr">
      <vt:lpstr>宋体</vt:lpstr>
      <vt:lpstr>微软雅黑</vt:lpstr>
      <vt:lpstr>Arial</vt:lpstr>
      <vt:lpstr>Calibri</vt:lpstr>
      <vt:lpstr>主题5</vt:lpstr>
      <vt:lpstr>think-cell Slide</vt:lpstr>
      <vt:lpstr>Proj2. btree索引实现</vt:lpstr>
      <vt:lpstr>PowerPoint 演示文稿</vt:lpstr>
      <vt:lpstr>1. 实验目标</vt:lpstr>
      <vt:lpstr>2. 设计思路</vt:lpstr>
      <vt:lpstr>PowerPoint 演示文稿</vt:lpstr>
      <vt:lpstr>PowerPoint 演示文稿</vt:lpstr>
      <vt:lpstr>PowerPoint 演示文稿</vt:lpstr>
      <vt:lpstr>Thanks</vt:lpstr>
    </vt:vector>
  </TitlesOfParts>
  <Manager>iSlide</Manager>
  <Company/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数据库系统原理与实现</dc:title>
  <dc:creator>niexw</dc:creator>
  <cp:lastModifiedBy>niexw</cp:lastModifiedBy>
  <cp:revision>142</cp:revision>
  <cp:lastPrinted>2018-06-26T16:00:00Z</cp:lastPrinted>
  <dcterms:created xsi:type="dcterms:W3CDTF">2020-02-26T01:40:21Z</dcterms:created>
  <dcterms:modified xsi:type="dcterms:W3CDTF">2020-06-15T00:4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